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F8E11-2776-5038-B0AA-4B8F5347F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Chevron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00E9C8-5DC4-E278-E2BE-5F3767F93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898530-4413-76FF-2349-26841844DD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824186-7879-5BA5-9F15-77445106A4D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6CFC89-C6B2-1F43-A44A-6923F923235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530C1B7-1628-56B5-91F9-3127E59798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eros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r>
              <a:rPr lang="en-US" dirty="0"/>
              <a:t>Nunc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est. </a:t>
            </a:r>
            <a:r>
              <a:rPr lang="en-US" dirty="0" err="1"/>
              <a:t>Vivamus</a:t>
            </a:r>
            <a:r>
              <a:rPr lang="en-US" dirty="0"/>
              <a:t>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9A0F3E-B266-8D26-58FB-D21A753FE5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eader 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A403B2-1A6A-5D8C-FD27-813DBAD9242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Header 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1313EB2-1705-059D-D53A-F94306D061D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Header 3</a:t>
            </a:r>
          </a:p>
        </p:txBody>
      </p:sp>
    </p:spTree>
    <p:extLst>
      <p:ext uri="{BB962C8B-B14F-4D97-AF65-F5344CB8AC3E}">
        <p14:creationId xmlns:p14="http://schemas.microsoft.com/office/powerpoint/2010/main" val="4050099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</TotalTime>
  <Words>154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hree Chevron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03</cp:revision>
  <dcterms:created xsi:type="dcterms:W3CDTF">2025-07-09T10:57:17Z</dcterms:created>
  <dcterms:modified xsi:type="dcterms:W3CDTF">2025-10-22T09:33:19Z</dcterms:modified>
  <cp:category/>
</cp:coreProperties>
</file>